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7"/>
  </p:notesMasterIdLst>
  <p:sldIdLst>
    <p:sldId id="267" r:id="rId3"/>
    <p:sldId id="333" r:id="rId4"/>
    <p:sldId id="258" r:id="rId5"/>
    <p:sldId id="268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F3FA"/>
    <a:srgbClr val="01958A"/>
    <a:srgbClr val="01AB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BC0B98-96B8-4174-81AB-1A8399EABDB0}" v="7" dt="2021-03-23T08:55:45.6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38" autoAdjust="0"/>
    <p:restoredTop sz="94660"/>
  </p:normalViewPr>
  <p:slideViewPr>
    <p:cSldViewPr snapToGrid="0">
      <p:cViewPr varScale="1">
        <p:scale>
          <a:sx n="72" d="100"/>
          <a:sy n="72" d="100"/>
        </p:scale>
        <p:origin x="68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kheel sarvaiye" userId="38ed89ebf995f9e7" providerId="LiveId" clId="{B2BC0B98-96B8-4174-81AB-1A8399EABDB0}"/>
    <pc:docChg chg="undo custSel addSld delSld modSld">
      <pc:chgData name="nikheel sarvaiye" userId="38ed89ebf995f9e7" providerId="LiveId" clId="{B2BC0B98-96B8-4174-81AB-1A8399EABDB0}" dt="2021-03-23T08:58:49.476" v="313" actId="47"/>
      <pc:docMkLst>
        <pc:docMk/>
      </pc:docMkLst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3418405629" sldId="257"/>
        </pc:sldMkLst>
      </pc:sldChg>
      <pc:sldChg chg="addSp delSp modSp mod">
        <pc:chgData name="nikheel sarvaiye" userId="38ed89ebf995f9e7" providerId="LiveId" clId="{B2BC0B98-96B8-4174-81AB-1A8399EABDB0}" dt="2021-03-23T08:58:35.392" v="312" actId="20577"/>
        <pc:sldMkLst>
          <pc:docMk/>
          <pc:sldMk cId="1726648811" sldId="258"/>
        </pc:sldMkLst>
        <pc:spChg chg="mod">
          <ac:chgData name="nikheel sarvaiye" userId="38ed89ebf995f9e7" providerId="LiveId" clId="{B2BC0B98-96B8-4174-81AB-1A8399EABDB0}" dt="2021-03-23T08:58:35.392" v="312" actId="20577"/>
          <ac:spMkLst>
            <pc:docMk/>
            <pc:sldMk cId="1726648811" sldId="258"/>
            <ac:spMk id="2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3" creationId="{00000000-0000-0000-0000-000000000000}"/>
          </ac:spMkLst>
        </pc:spChg>
        <pc:spChg chg="mod">
          <ac:chgData name="nikheel sarvaiye" userId="38ed89ebf995f9e7" providerId="LiveId" clId="{B2BC0B98-96B8-4174-81AB-1A8399EABDB0}" dt="2021-03-23T08:54:30.721" v="170" actId="20577"/>
          <ac:spMkLst>
            <pc:docMk/>
            <pc:sldMk cId="1726648811" sldId="258"/>
            <ac:spMk id="4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5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6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7" creationId="{00000000-0000-0000-0000-000000000000}"/>
          </ac:spMkLst>
        </pc:spChg>
        <pc:spChg chg="mod">
          <ac:chgData name="nikheel sarvaiye" userId="38ed89ebf995f9e7" providerId="LiveId" clId="{B2BC0B98-96B8-4174-81AB-1A8399EABDB0}" dt="2021-03-23T08:58:14.774" v="301" actId="1076"/>
          <ac:spMkLst>
            <pc:docMk/>
            <pc:sldMk cId="1726648811" sldId="258"/>
            <ac:spMk id="8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16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4:23.978" v="164" actId="478"/>
          <ac:spMkLst>
            <pc:docMk/>
            <pc:sldMk cId="1726648811" sldId="258"/>
            <ac:spMk id="17" creationId="{00000000-0000-0000-0000-000000000000}"/>
          </ac:spMkLst>
        </pc:spChg>
        <pc:spChg chg="del mod">
          <ac:chgData name="nikheel sarvaiye" userId="38ed89ebf995f9e7" providerId="LiveId" clId="{B2BC0B98-96B8-4174-81AB-1A8399EABDB0}" dt="2021-03-23T08:54:41.024" v="182" actId="478"/>
          <ac:spMkLst>
            <pc:docMk/>
            <pc:sldMk cId="1726648811" sldId="258"/>
            <ac:spMk id="23" creationId="{00000000-0000-0000-0000-000000000000}"/>
          </ac:spMkLst>
        </pc:spChg>
        <pc:spChg chg="mod">
          <ac:chgData name="nikheel sarvaiye" userId="38ed89ebf995f9e7" providerId="LiveId" clId="{B2BC0B98-96B8-4174-81AB-1A8399EABDB0}" dt="2021-03-23T08:58:05.004" v="299" actId="1036"/>
          <ac:spMkLst>
            <pc:docMk/>
            <pc:sldMk cId="1726648811" sldId="258"/>
            <ac:spMk id="26" creationId="{00000000-0000-0000-0000-000000000000}"/>
          </ac:spMkLst>
        </pc:spChg>
        <pc:spChg chg="del mod">
          <ac:chgData name="nikheel sarvaiye" userId="38ed89ebf995f9e7" providerId="LiveId" clId="{B2BC0B98-96B8-4174-81AB-1A8399EABDB0}" dt="2021-03-23T08:54:21.713" v="163" actId="478"/>
          <ac:spMkLst>
            <pc:docMk/>
            <pc:sldMk cId="1726648811" sldId="258"/>
            <ac:spMk id="32" creationId="{00000000-0000-0000-0000-000000000000}"/>
          </ac:spMkLst>
        </pc:spChg>
        <pc:spChg chg="mod">
          <ac:chgData name="nikheel sarvaiye" userId="38ed89ebf995f9e7" providerId="LiveId" clId="{B2BC0B98-96B8-4174-81AB-1A8399EABDB0}" dt="2021-03-23T08:56:41.916" v="257" actId="14100"/>
          <ac:spMkLst>
            <pc:docMk/>
            <pc:sldMk cId="1726648811" sldId="258"/>
            <ac:spMk id="33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37" creationId="{00000000-0000-0000-0000-000000000000}"/>
          </ac:spMkLst>
        </pc:spChg>
        <pc:spChg chg="del">
          <ac:chgData name="nikheel sarvaiye" userId="38ed89ebf995f9e7" providerId="LiveId" clId="{B2BC0B98-96B8-4174-81AB-1A8399EABDB0}" dt="2021-03-23T08:51:34.734" v="73" actId="478"/>
          <ac:spMkLst>
            <pc:docMk/>
            <pc:sldMk cId="1726648811" sldId="258"/>
            <ac:spMk id="38" creationId="{00000000-0000-0000-0000-000000000000}"/>
          </ac:spMkLst>
        </pc:spChg>
        <pc:spChg chg="add mod">
          <ac:chgData name="nikheel sarvaiye" userId="38ed89ebf995f9e7" providerId="LiveId" clId="{B2BC0B98-96B8-4174-81AB-1A8399EABDB0}" dt="2021-03-23T08:58:26.828" v="304" actId="1076"/>
          <ac:spMkLst>
            <pc:docMk/>
            <pc:sldMk cId="1726648811" sldId="258"/>
            <ac:spMk id="39" creationId="{DCA97500-6C5F-4C59-A0F1-63119412DF80}"/>
          </ac:spMkLst>
        </pc:spChg>
        <pc:spChg chg="add mod">
          <ac:chgData name="nikheel sarvaiye" userId="38ed89ebf995f9e7" providerId="LiveId" clId="{B2BC0B98-96B8-4174-81AB-1A8399EABDB0}" dt="2021-03-23T08:57:51.428" v="285" actId="1076"/>
          <ac:spMkLst>
            <pc:docMk/>
            <pc:sldMk cId="1726648811" sldId="258"/>
            <ac:spMk id="40" creationId="{CD7A2ED7-95BE-4E04-B3FA-99F64BDE9805}"/>
          </ac:spMkLst>
        </pc:spChg>
        <pc:spChg chg="add mod">
          <ac:chgData name="nikheel sarvaiye" userId="38ed89ebf995f9e7" providerId="LiveId" clId="{B2BC0B98-96B8-4174-81AB-1A8399EABDB0}" dt="2021-03-23T08:57:55.891" v="286" actId="1076"/>
          <ac:spMkLst>
            <pc:docMk/>
            <pc:sldMk cId="1726648811" sldId="258"/>
            <ac:spMk id="42" creationId="{DDCA3F24-166E-47DF-9228-72232690DFBE}"/>
          </ac:spMkLst>
        </pc:spChg>
        <pc:spChg chg="add mod">
          <ac:chgData name="nikheel sarvaiye" userId="38ed89ebf995f9e7" providerId="LiveId" clId="{B2BC0B98-96B8-4174-81AB-1A8399EABDB0}" dt="2021-03-23T08:57:38.628" v="283" actId="1076"/>
          <ac:spMkLst>
            <pc:docMk/>
            <pc:sldMk cId="1726648811" sldId="258"/>
            <ac:spMk id="45" creationId="{426352D7-DD39-42BD-B024-BF3A6F0A827F}"/>
          </ac:spMkLst>
        </pc:spChg>
        <pc:spChg chg="add del mod">
          <ac:chgData name="nikheel sarvaiye" userId="38ed89ebf995f9e7" providerId="LiveId" clId="{B2BC0B98-96B8-4174-81AB-1A8399EABDB0}" dt="2021-03-23T08:57:17.074" v="261" actId="478"/>
          <ac:spMkLst>
            <pc:docMk/>
            <pc:sldMk cId="1726648811" sldId="258"/>
            <ac:spMk id="48" creationId="{F80BAE12-0D97-418D-AD23-CD6E6C56CE0E}"/>
          </ac:spMkLst>
        </pc:spChg>
        <pc:spChg chg="del">
          <ac:chgData name="nikheel sarvaiye" userId="38ed89ebf995f9e7" providerId="LiveId" clId="{B2BC0B98-96B8-4174-81AB-1A8399EABDB0}" dt="2021-03-23T08:52:46.760" v="123" actId="478"/>
          <ac:spMkLst>
            <pc:docMk/>
            <pc:sldMk cId="1726648811" sldId="258"/>
            <ac:spMk id="50" creationId="{00000000-0000-0000-0000-000000000000}"/>
          </ac:spMkLst>
        </pc:spChg>
        <pc:spChg chg="del mod">
          <ac:chgData name="nikheel sarvaiye" userId="38ed89ebf995f9e7" providerId="LiveId" clId="{B2BC0B98-96B8-4174-81AB-1A8399EABDB0}" dt="2021-03-23T08:54:17.946" v="162" actId="478"/>
          <ac:spMkLst>
            <pc:docMk/>
            <pc:sldMk cId="1726648811" sldId="258"/>
            <ac:spMk id="51" creationId="{00000000-0000-0000-0000-000000000000}"/>
          </ac:spMkLst>
        </pc:spChg>
        <pc:cxnChg chg="del mod">
          <ac:chgData name="nikheel sarvaiye" userId="38ed89ebf995f9e7" providerId="LiveId" clId="{B2BC0B98-96B8-4174-81AB-1A8399EABDB0}" dt="2021-03-23T08:52:44.060" v="122" actId="478"/>
          <ac:cxnSpMkLst>
            <pc:docMk/>
            <pc:sldMk cId="1726648811" sldId="258"/>
            <ac:cxnSpMk id="10" creationId="{00000000-0000-0000-0000-000000000000}"/>
          </ac:cxnSpMkLst>
        </pc:cxnChg>
        <pc:cxnChg chg="mod">
          <ac:chgData name="nikheel sarvaiye" userId="38ed89ebf995f9e7" providerId="LiveId" clId="{B2BC0B98-96B8-4174-81AB-1A8399EABDB0}" dt="2021-03-23T08:55:58.523" v="213" actId="14100"/>
          <ac:cxnSpMkLst>
            <pc:docMk/>
            <pc:sldMk cId="1726648811" sldId="258"/>
            <ac:cxnSpMk id="11" creationId="{00000000-0000-0000-0000-000000000000}"/>
          </ac:cxnSpMkLst>
        </pc:cxnChg>
        <pc:cxnChg chg="del mod">
          <ac:chgData name="nikheel sarvaiye" userId="38ed89ebf995f9e7" providerId="LiveId" clId="{B2BC0B98-96B8-4174-81AB-1A8399EABDB0}" dt="2021-03-23T08:52:44.060" v="122" actId="478"/>
          <ac:cxnSpMkLst>
            <pc:docMk/>
            <pc:sldMk cId="1726648811" sldId="258"/>
            <ac:cxnSpMk id="13" creationId="{00000000-0000-0000-0000-000000000000}"/>
          </ac:cxnSpMkLst>
        </pc:cxnChg>
        <pc:cxnChg chg="del">
          <ac:chgData name="nikheel sarvaiye" userId="38ed89ebf995f9e7" providerId="LiveId" clId="{B2BC0B98-96B8-4174-81AB-1A8399EABDB0}" dt="2021-03-23T08:51:34.734" v="73" actId="478"/>
          <ac:cxnSpMkLst>
            <pc:docMk/>
            <pc:sldMk cId="1726648811" sldId="258"/>
            <ac:cxnSpMk id="15" creationId="{00000000-0000-0000-0000-000000000000}"/>
          </ac:cxnSpMkLst>
        </pc:cxnChg>
        <pc:cxnChg chg="mod">
          <ac:chgData name="nikheel sarvaiye" userId="38ed89ebf995f9e7" providerId="LiveId" clId="{B2BC0B98-96B8-4174-81AB-1A8399EABDB0}" dt="2021-03-23T08:58:12.131" v="300" actId="14100"/>
          <ac:cxnSpMkLst>
            <pc:docMk/>
            <pc:sldMk cId="1726648811" sldId="258"/>
            <ac:cxnSpMk id="25" creationId="{00000000-0000-0000-0000-000000000000}"/>
          </ac:cxnSpMkLst>
        </pc:cxnChg>
        <pc:cxnChg chg="mod">
          <ac:chgData name="nikheel sarvaiye" userId="38ed89ebf995f9e7" providerId="LiveId" clId="{B2BC0B98-96B8-4174-81AB-1A8399EABDB0}" dt="2021-03-23T08:54:37.411" v="181" actId="1037"/>
          <ac:cxnSpMkLst>
            <pc:docMk/>
            <pc:sldMk cId="1726648811" sldId="258"/>
            <ac:cxnSpMk id="34" creationId="{00000000-0000-0000-0000-000000000000}"/>
          </ac:cxnSpMkLst>
        </pc:cxnChg>
        <pc:cxnChg chg="del">
          <ac:chgData name="nikheel sarvaiye" userId="38ed89ebf995f9e7" providerId="LiveId" clId="{B2BC0B98-96B8-4174-81AB-1A8399EABDB0}" dt="2021-03-23T08:54:21.713" v="163" actId="478"/>
          <ac:cxnSpMkLst>
            <pc:docMk/>
            <pc:sldMk cId="1726648811" sldId="258"/>
            <ac:cxnSpMk id="35" creationId="{00000000-0000-0000-0000-000000000000}"/>
          </ac:cxnSpMkLst>
        </pc:cxnChg>
        <pc:cxnChg chg="add mod">
          <ac:chgData name="nikheel sarvaiye" userId="38ed89ebf995f9e7" providerId="LiveId" clId="{B2BC0B98-96B8-4174-81AB-1A8399EABDB0}" dt="2021-03-23T08:58:17.852" v="302" actId="14100"/>
          <ac:cxnSpMkLst>
            <pc:docMk/>
            <pc:sldMk cId="1726648811" sldId="258"/>
            <ac:cxnSpMk id="36" creationId="{EBC6953F-B810-4F0D-B555-FBE816B1BEAA}"/>
          </ac:cxnSpMkLst>
        </pc:cxnChg>
        <pc:cxnChg chg="add mod">
          <ac:chgData name="nikheel sarvaiye" userId="38ed89ebf995f9e7" providerId="LiveId" clId="{B2BC0B98-96B8-4174-81AB-1A8399EABDB0}" dt="2021-03-23T08:57:51.428" v="285" actId="1076"/>
          <ac:cxnSpMkLst>
            <pc:docMk/>
            <pc:sldMk cId="1726648811" sldId="258"/>
            <ac:cxnSpMk id="41" creationId="{11BCEE37-7466-4A50-8E78-0CED0D0B2EA7}"/>
          </ac:cxnSpMkLst>
        </pc:cxnChg>
        <pc:cxnChg chg="del">
          <ac:chgData name="nikheel sarvaiye" userId="38ed89ebf995f9e7" providerId="LiveId" clId="{B2BC0B98-96B8-4174-81AB-1A8399EABDB0}" dt="2021-03-23T08:52:44.060" v="122" actId="478"/>
          <ac:cxnSpMkLst>
            <pc:docMk/>
            <pc:sldMk cId="1726648811" sldId="258"/>
            <ac:cxnSpMk id="43" creationId="{00000000-0000-0000-0000-000000000000}"/>
          </ac:cxnSpMkLst>
        </pc:cxnChg>
        <pc:cxnChg chg="add mod">
          <ac:chgData name="nikheel sarvaiye" userId="38ed89ebf995f9e7" providerId="LiveId" clId="{B2BC0B98-96B8-4174-81AB-1A8399EABDB0}" dt="2021-03-23T08:57:55.891" v="286" actId="1076"/>
          <ac:cxnSpMkLst>
            <pc:docMk/>
            <pc:sldMk cId="1726648811" sldId="258"/>
            <ac:cxnSpMk id="44" creationId="{E70E5209-698A-42E5-8327-D04278C0DC52}"/>
          </ac:cxnSpMkLst>
        </pc:cxnChg>
        <pc:cxnChg chg="add mod">
          <ac:chgData name="nikheel sarvaiye" userId="38ed89ebf995f9e7" providerId="LiveId" clId="{B2BC0B98-96B8-4174-81AB-1A8399EABDB0}" dt="2021-03-23T08:57:38.628" v="283" actId="1076"/>
          <ac:cxnSpMkLst>
            <pc:docMk/>
            <pc:sldMk cId="1726648811" sldId="258"/>
            <ac:cxnSpMk id="46" creationId="{7BCF2775-F447-477D-9775-65AF0EB49C49}"/>
          </ac:cxnSpMkLst>
        </pc:cxnChg>
        <pc:cxnChg chg="del mod">
          <ac:chgData name="nikheel sarvaiye" userId="38ed89ebf995f9e7" providerId="LiveId" clId="{B2BC0B98-96B8-4174-81AB-1A8399EABDB0}" dt="2021-03-23T08:52:44.060" v="122" actId="478"/>
          <ac:cxnSpMkLst>
            <pc:docMk/>
            <pc:sldMk cId="1726648811" sldId="258"/>
            <ac:cxnSpMk id="47" creationId="{00000000-0000-0000-0000-000000000000}"/>
          </ac:cxnSpMkLst>
        </pc:cxnChg>
        <pc:cxnChg chg="del">
          <ac:chgData name="nikheel sarvaiye" userId="38ed89ebf995f9e7" providerId="LiveId" clId="{B2BC0B98-96B8-4174-81AB-1A8399EABDB0}" dt="2021-03-23T08:54:21.713" v="163" actId="478"/>
          <ac:cxnSpMkLst>
            <pc:docMk/>
            <pc:sldMk cId="1726648811" sldId="258"/>
            <ac:cxnSpMk id="49" creationId="{00000000-0000-0000-0000-000000000000}"/>
          </ac:cxnSpMkLst>
        </pc:cxnChg>
        <pc:cxnChg chg="add del mod">
          <ac:chgData name="nikheel sarvaiye" userId="38ed89ebf995f9e7" providerId="LiveId" clId="{B2BC0B98-96B8-4174-81AB-1A8399EABDB0}" dt="2021-03-23T08:57:17.074" v="261" actId="478"/>
          <ac:cxnSpMkLst>
            <pc:docMk/>
            <pc:sldMk cId="1726648811" sldId="258"/>
            <ac:cxnSpMk id="52" creationId="{B1425752-E815-4AB3-82BD-F5F552E367EB}"/>
          </ac:cxnSpMkLst>
        </pc:cxnChg>
      </pc:sldChg>
      <pc:sldChg chg="modSp mod">
        <pc:chgData name="nikheel sarvaiye" userId="38ed89ebf995f9e7" providerId="LiveId" clId="{B2BC0B98-96B8-4174-81AB-1A8399EABDB0}" dt="2021-03-23T08:50:46.146" v="33" actId="21"/>
        <pc:sldMkLst>
          <pc:docMk/>
          <pc:sldMk cId="1991590962" sldId="267"/>
        </pc:sldMkLst>
        <pc:spChg chg="mod">
          <ac:chgData name="nikheel sarvaiye" userId="38ed89ebf995f9e7" providerId="LiveId" clId="{B2BC0B98-96B8-4174-81AB-1A8399EABDB0}" dt="2021-03-23T08:50:46.146" v="33" actId="21"/>
          <ac:spMkLst>
            <pc:docMk/>
            <pc:sldMk cId="1991590962" sldId="267"/>
            <ac:spMk id="6" creationId="{00000000-0000-0000-0000-000000000000}"/>
          </ac:spMkLst>
        </pc:spChg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3654740250" sldId="291"/>
        </pc:sldMkLst>
      </pc:sldChg>
      <pc:sldChg chg="modSp mod">
        <pc:chgData name="nikheel sarvaiye" userId="38ed89ebf995f9e7" providerId="LiveId" clId="{B2BC0B98-96B8-4174-81AB-1A8399EABDB0}" dt="2021-03-23T08:51:08.433" v="70" actId="20577"/>
        <pc:sldMkLst>
          <pc:docMk/>
          <pc:sldMk cId="4036195008" sldId="333"/>
        </pc:sldMkLst>
        <pc:spChg chg="mod">
          <ac:chgData name="nikheel sarvaiye" userId="38ed89ebf995f9e7" providerId="LiveId" clId="{B2BC0B98-96B8-4174-81AB-1A8399EABDB0}" dt="2021-03-23T08:51:08.433" v="70" actId="20577"/>
          <ac:spMkLst>
            <pc:docMk/>
            <pc:sldMk cId="4036195008" sldId="333"/>
            <ac:spMk id="4" creationId="{5AD37D6F-278D-4755-9D42-4BD54436EFA3}"/>
          </ac:spMkLst>
        </pc:spChg>
      </pc:sldChg>
      <pc:sldChg chg="add del">
        <pc:chgData name="nikheel sarvaiye" userId="38ed89ebf995f9e7" providerId="LiveId" clId="{B2BC0B98-96B8-4174-81AB-1A8399EABDB0}" dt="2021-03-23T08:58:49.476" v="313" actId="47"/>
        <pc:sldMkLst>
          <pc:docMk/>
          <pc:sldMk cId="3321736592" sldId="334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2168948789" sldId="554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165871916" sldId="556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3170429480" sldId="557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1601347421" sldId="560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2504980715" sldId="561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3971519129" sldId="562"/>
        </pc:sldMkLst>
      </pc:sldChg>
      <pc:sldChg chg="del">
        <pc:chgData name="nikheel sarvaiye" userId="38ed89ebf995f9e7" providerId="LiveId" clId="{B2BC0B98-96B8-4174-81AB-1A8399EABDB0}" dt="2021-03-23T08:51:20.165" v="71" actId="47"/>
        <pc:sldMkLst>
          <pc:docMk/>
          <pc:sldMk cId="119236248" sldId="56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1BB72-1491-4FE9-BDF2-3F1557F26A59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09F210-8E2D-45AE-8F17-A39C95997B7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33682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9586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9155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55604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63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83502" y="2387864"/>
            <a:ext cx="5987183" cy="2082273"/>
          </a:xfrm>
        </p:spPr>
        <p:txBody>
          <a:bodyPr anchor="ctr"/>
          <a:lstStyle>
            <a:lvl1pPr algn="ctr">
              <a:defRPr sz="83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6880" y="-28742"/>
            <a:ext cx="4639939" cy="6886742"/>
          </a:xfrm>
          <a:prstGeom prst="rect">
            <a:avLst/>
          </a:prstGeom>
          <a:solidFill>
            <a:srgbClr val="B61F24">
              <a:alpha val="7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1" tIns="22855" rIns="45711" bIns="22855"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46349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5351" y="787400"/>
            <a:ext cx="10972800" cy="879952"/>
          </a:xfrm>
        </p:spPr>
        <p:txBody>
          <a:bodyPr anchor="b">
            <a:normAutofit/>
          </a:bodyPr>
          <a:lstStyle>
            <a:lvl1pPr algn="l">
              <a:defRPr sz="3733" b="1"/>
            </a:lvl1pPr>
          </a:lstStyle>
          <a:p>
            <a:r>
              <a:rPr lang="en-US" dirty="0"/>
              <a:t>Click to Edit Master Title 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-1" y="6534786"/>
            <a:ext cx="441327" cy="297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fld id="{C212118D-E768-4C60-A5D2-EB296F8888BD}" type="slidenum">
              <a: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ctr"/>
              <a:t>‹#›</a:t>
            </a:fld>
            <a:endParaRPr lang="en-US" sz="1333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8747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876300"/>
          </a:xfrm>
        </p:spPr>
        <p:txBody>
          <a:bodyPr>
            <a:normAutofit/>
          </a:bodyPr>
          <a:lstStyle>
            <a:lvl1pPr algn="ctr">
              <a:defRPr sz="3200" b="1">
                <a:solidFill>
                  <a:schemeClr val="tx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335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4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255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352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0118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7114-DEA4-4ACB-A321-745B1080C5B1}" type="datetimeFigureOut">
              <a:rPr lang="en-US" smtClean="0"/>
              <a:t>3/23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0062F-3FA4-4497-A306-8CE92272F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955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61742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E4F605-4F9C-4ADC-AB51-589E727B645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56B4F7-62A7-4FB4-A9D3-00A67C4EA6A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610435" y="0"/>
            <a:ext cx="10581565" cy="1009933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3600">
                <a:solidFill>
                  <a:schemeClr val="bg2"/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88490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120542" y="2488555"/>
            <a:ext cx="1926914" cy="260604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9105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8718905" y="1837934"/>
            <a:ext cx="2341474" cy="31303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6686706" y="1834738"/>
            <a:ext cx="2341474" cy="3133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778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059" y="794"/>
          <a:ext cx="105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794"/>
                        <a:ext cx="105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213802" y="1841130"/>
            <a:ext cx="2341474" cy="31303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81603" y="1837934"/>
            <a:ext cx="2341474" cy="31335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28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63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83502" y="2387864"/>
            <a:ext cx="5987183" cy="2082273"/>
          </a:xfrm>
        </p:spPr>
        <p:txBody>
          <a:bodyPr anchor="ctr"/>
          <a:lstStyle>
            <a:lvl1pPr algn="ctr">
              <a:defRPr sz="83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6880" y="-28742"/>
            <a:ext cx="4639939" cy="6886742"/>
          </a:xfrm>
          <a:prstGeom prst="rect">
            <a:avLst/>
          </a:prstGeom>
          <a:solidFill>
            <a:srgbClr val="B61F24">
              <a:alpha val="7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1" tIns="22855" rIns="45711" bIns="22855" rtlCol="0" anchor="ctr"/>
          <a:lstStyle/>
          <a:p>
            <a:pPr algn="ctr"/>
            <a:endParaRPr lang="en-US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92108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/>
          <p:nvPr userDrawn="1"/>
        </p:nvSpPr>
        <p:spPr>
          <a:xfrm>
            <a:off x="9671053" y="0"/>
            <a:ext cx="2520948" cy="5378451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  <a:gd name="connsiteX0" fmla="*/ 0 w 1784503"/>
              <a:gd name="connsiteY0" fmla="*/ 4160233 h 4160233"/>
              <a:gd name="connsiteX1" fmla="*/ 1784503 w 1784503"/>
              <a:gd name="connsiteY1" fmla="*/ 0 h 4160233"/>
              <a:gd name="connsiteX2" fmla="*/ 1784503 w 1784503"/>
              <a:gd name="connsiteY2" fmla="*/ 1657350 h 4160233"/>
              <a:gd name="connsiteX3" fmla="*/ 0 w 1784503"/>
              <a:gd name="connsiteY3" fmla="*/ 4160233 h 4160233"/>
              <a:gd name="connsiteX0" fmla="*/ 0 w 1080880"/>
              <a:gd name="connsiteY0" fmla="*/ 2819435 h 2819435"/>
              <a:gd name="connsiteX1" fmla="*/ 1080880 w 1080880"/>
              <a:gd name="connsiteY1" fmla="*/ 0 h 2819435"/>
              <a:gd name="connsiteX2" fmla="*/ 1080880 w 1080880"/>
              <a:gd name="connsiteY2" fmla="*/ 1657350 h 2819435"/>
              <a:gd name="connsiteX3" fmla="*/ 0 w 1080880"/>
              <a:gd name="connsiteY3" fmla="*/ 2819435 h 2819435"/>
              <a:gd name="connsiteX0" fmla="*/ 0 w 1482457"/>
              <a:gd name="connsiteY0" fmla="*/ 2916657 h 2916657"/>
              <a:gd name="connsiteX1" fmla="*/ 1482457 w 1482457"/>
              <a:gd name="connsiteY1" fmla="*/ 0 h 2916657"/>
              <a:gd name="connsiteX2" fmla="*/ 1482457 w 1482457"/>
              <a:gd name="connsiteY2" fmla="*/ 1657350 h 2916657"/>
              <a:gd name="connsiteX3" fmla="*/ 0 w 1482457"/>
              <a:gd name="connsiteY3" fmla="*/ 2916657 h 2916657"/>
              <a:gd name="connsiteX0" fmla="*/ 0 w 1532644"/>
              <a:gd name="connsiteY0" fmla="*/ 3042375 h 3042375"/>
              <a:gd name="connsiteX1" fmla="*/ 1532644 w 1532644"/>
              <a:gd name="connsiteY1" fmla="*/ 0 h 3042375"/>
              <a:gd name="connsiteX2" fmla="*/ 1532644 w 1532644"/>
              <a:gd name="connsiteY2" fmla="*/ 1657350 h 3042375"/>
              <a:gd name="connsiteX3" fmla="*/ 0 w 1532644"/>
              <a:gd name="connsiteY3" fmla="*/ 3042375 h 3042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2644" h="3042375">
                <a:moveTo>
                  <a:pt x="0" y="3042375"/>
                </a:moveTo>
                <a:lnTo>
                  <a:pt x="1532644" y="0"/>
                </a:lnTo>
                <a:lnTo>
                  <a:pt x="1532644" y="1657350"/>
                </a:lnTo>
                <a:lnTo>
                  <a:pt x="0" y="30423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0356851" y="1"/>
            <a:ext cx="1835149" cy="2028825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1600" h="1657350">
                <a:moveTo>
                  <a:pt x="0" y="0"/>
                </a:moveTo>
                <a:lnTo>
                  <a:pt x="1371600" y="0"/>
                </a:lnTo>
                <a:lnTo>
                  <a:pt x="1371600" y="165735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Rectangle 3"/>
          <p:cNvSpPr/>
          <p:nvPr userDrawn="1"/>
        </p:nvSpPr>
        <p:spPr>
          <a:xfrm>
            <a:off x="10063693" y="1295402"/>
            <a:ext cx="2128308" cy="1930399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  <a:gd name="connsiteX0" fmla="*/ 0 w 1574097"/>
              <a:gd name="connsiteY0" fmla="*/ 1376370 h 1657350"/>
              <a:gd name="connsiteX1" fmla="*/ 1574097 w 1574097"/>
              <a:gd name="connsiteY1" fmla="*/ 0 h 1657350"/>
              <a:gd name="connsiteX2" fmla="*/ 1574097 w 1574097"/>
              <a:gd name="connsiteY2" fmla="*/ 1657350 h 1657350"/>
              <a:gd name="connsiteX3" fmla="*/ 0 w 1574097"/>
              <a:gd name="connsiteY3" fmla="*/ 1376370 h 1657350"/>
              <a:gd name="connsiteX0" fmla="*/ 0 w 1593081"/>
              <a:gd name="connsiteY0" fmla="*/ 1397438 h 1657350"/>
              <a:gd name="connsiteX1" fmla="*/ 1593081 w 1593081"/>
              <a:gd name="connsiteY1" fmla="*/ 0 h 1657350"/>
              <a:gd name="connsiteX2" fmla="*/ 1593081 w 1593081"/>
              <a:gd name="connsiteY2" fmla="*/ 1657350 h 1657350"/>
              <a:gd name="connsiteX3" fmla="*/ 0 w 1593081"/>
              <a:gd name="connsiteY3" fmla="*/ 1397438 h 1657350"/>
              <a:gd name="connsiteX0" fmla="*/ 0 w 1590708"/>
              <a:gd name="connsiteY0" fmla="*/ 1457409 h 1657350"/>
              <a:gd name="connsiteX1" fmla="*/ 1590708 w 1590708"/>
              <a:gd name="connsiteY1" fmla="*/ 0 h 1657350"/>
              <a:gd name="connsiteX2" fmla="*/ 1590708 w 1590708"/>
              <a:gd name="connsiteY2" fmla="*/ 1657350 h 1657350"/>
              <a:gd name="connsiteX3" fmla="*/ 0 w 1590708"/>
              <a:gd name="connsiteY3" fmla="*/ 1457409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708" h="1657350">
                <a:moveTo>
                  <a:pt x="0" y="1457409"/>
                </a:moveTo>
                <a:lnTo>
                  <a:pt x="1590708" y="0"/>
                </a:lnTo>
                <a:lnTo>
                  <a:pt x="1590708" y="1657350"/>
                </a:lnTo>
                <a:lnTo>
                  <a:pt x="0" y="145740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Rectangle 3"/>
          <p:cNvSpPr/>
          <p:nvPr userDrawn="1"/>
        </p:nvSpPr>
        <p:spPr>
          <a:xfrm>
            <a:off x="11804651" y="1292227"/>
            <a:ext cx="387349" cy="733424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  <a:gd name="connsiteX0" fmla="*/ 0 w 1574097"/>
              <a:gd name="connsiteY0" fmla="*/ 1376370 h 1657350"/>
              <a:gd name="connsiteX1" fmla="*/ 1574097 w 1574097"/>
              <a:gd name="connsiteY1" fmla="*/ 0 h 1657350"/>
              <a:gd name="connsiteX2" fmla="*/ 1574097 w 1574097"/>
              <a:gd name="connsiteY2" fmla="*/ 1657350 h 1657350"/>
              <a:gd name="connsiteX3" fmla="*/ 0 w 1574097"/>
              <a:gd name="connsiteY3" fmla="*/ 1376370 h 1657350"/>
              <a:gd name="connsiteX0" fmla="*/ 0 w 1593081"/>
              <a:gd name="connsiteY0" fmla="*/ 1397438 h 1657350"/>
              <a:gd name="connsiteX1" fmla="*/ 1593081 w 1593081"/>
              <a:gd name="connsiteY1" fmla="*/ 0 h 1657350"/>
              <a:gd name="connsiteX2" fmla="*/ 1593081 w 1593081"/>
              <a:gd name="connsiteY2" fmla="*/ 1657350 h 1657350"/>
              <a:gd name="connsiteX3" fmla="*/ 0 w 1593081"/>
              <a:gd name="connsiteY3" fmla="*/ 1397438 h 1657350"/>
              <a:gd name="connsiteX0" fmla="*/ 0 w 1590708"/>
              <a:gd name="connsiteY0" fmla="*/ 1457409 h 1657350"/>
              <a:gd name="connsiteX1" fmla="*/ 1590708 w 1590708"/>
              <a:gd name="connsiteY1" fmla="*/ 0 h 1657350"/>
              <a:gd name="connsiteX2" fmla="*/ 1590708 w 1590708"/>
              <a:gd name="connsiteY2" fmla="*/ 1657350 h 1657350"/>
              <a:gd name="connsiteX3" fmla="*/ 0 w 1590708"/>
              <a:gd name="connsiteY3" fmla="*/ 1457409 h 1657350"/>
              <a:gd name="connsiteX0" fmla="*/ 0 w 1564714"/>
              <a:gd name="connsiteY0" fmla="*/ 696891 h 1657350"/>
              <a:gd name="connsiteX1" fmla="*/ 1564714 w 1564714"/>
              <a:gd name="connsiteY1" fmla="*/ 0 h 1657350"/>
              <a:gd name="connsiteX2" fmla="*/ 1564714 w 1564714"/>
              <a:gd name="connsiteY2" fmla="*/ 1657350 h 1657350"/>
              <a:gd name="connsiteX3" fmla="*/ 0 w 1564714"/>
              <a:gd name="connsiteY3" fmla="*/ 696891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4714" h="1657350">
                <a:moveTo>
                  <a:pt x="0" y="696891"/>
                </a:moveTo>
                <a:lnTo>
                  <a:pt x="1564714" y="0"/>
                </a:lnTo>
                <a:lnTo>
                  <a:pt x="1564714" y="1657350"/>
                </a:lnTo>
                <a:lnTo>
                  <a:pt x="0" y="69689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Rectangle 3"/>
          <p:cNvSpPr/>
          <p:nvPr userDrawn="1"/>
        </p:nvSpPr>
        <p:spPr>
          <a:xfrm>
            <a:off x="8774642" y="1819277"/>
            <a:ext cx="3417359" cy="3500204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  <a:gd name="connsiteX0" fmla="*/ 0 w 1574097"/>
              <a:gd name="connsiteY0" fmla="*/ 1376370 h 1657350"/>
              <a:gd name="connsiteX1" fmla="*/ 1574097 w 1574097"/>
              <a:gd name="connsiteY1" fmla="*/ 0 h 1657350"/>
              <a:gd name="connsiteX2" fmla="*/ 1574097 w 1574097"/>
              <a:gd name="connsiteY2" fmla="*/ 1657350 h 1657350"/>
              <a:gd name="connsiteX3" fmla="*/ 0 w 1574097"/>
              <a:gd name="connsiteY3" fmla="*/ 1376370 h 1657350"/>
              <a:gd name="connsiteX0" fmla="*/ 0 w 1593081"/>
              <a:gd name="connsiteY0" fmla="*/ 1397438 h 1657350"/>
              <a:gd name="connsiteX1" fmla="*/ 1593081 w 1593081"/>
              <a:gd name="connsiteY1" fmla="*/ 0 h 1657350"/>
              <a:gd name="connsiteX2" fmla="*/ 1593081 w 1593081"/>
              <a:gd name="connsiteY2" fmla="*/ 1657350 h 1657350"/>
              <a:gd name="connsiteX3" fmla="*/ 0 w 1593081"/>
              <a:gd name="connsiteY3" fmla="*/ 1397438 h 1657350"/>
              <a:gd name="connsiteX0" fmla="*/ 0 w 1590708"/>
              <a:gd name="connsiteY0" fmla="*/ 1457409 h 1657350"/>
              <a:gd name="connsiteX1" fmla="*/ 1590708 w 1590708"/>
              <a:gd name="connsiteY1" fmla="*/ 0 h 1657350"/>
              <a:gd name="connsiteX2" fmla="*/ 1590708 w 1590708"/>
              <a:gd name="connsiteY2" fmla="*/ 1657350 h 1657350"/>
              <a:gd name="connsiteX3" fmla="*/ 0 w 1590708"/>
              <a:gd name="connsiteY3" fmla="*/ 1457409 h 1657350"/>
              <a:gd name="connsiteX0" fmla="*/ 0 w 2554151"/>
              <a:gd name="connsiteY0" fmla="*/ 3123257 h 3123257"/>
              <a:gd name="connsiteX1" fmla="*/ 2554151 w 2554151"/>
              <a:gd name="connsiteY1" fmla="*/ 0 h 3123257"/>
              <a:gd name="connsiteX2" fmla="*/ 2554151 w 2554151"/>
              <a:gd name="connsiteY2" fmla="*/ 1657350 h 3123257"/>
              <a:gd name="connsiteX3" fmla="*/ 0 w 2554151"/>
              <a:gd name="connsiteY3" fmla="*/ 3123257 h 3123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4151" h="3123257">
                <a:moveTo>
                  <a:pt x="0" y="3123257"/>
                </a:moveTo>
                <a:lnTo>
                  <a:pt x="2554151" y="0"/>
                </a:lnTo>
                <a:lnTo>
                  <a:pt x="2554151" y="1657350"/>
                </a:lnTo>
                <a:lnTo>
                  <a:pt x="0" y="312325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8" name="Rectangle 3"/>
          <p:cNvSpPr/>
          <p:nvPr userDrawn="1"/>
        </p:nvSpPr>
        <p:spPr>
          <a:xfrm rot="10800000">
            <a:off x="2" y="6450427"/>
            <a:ext cx="1143001" cy="407573"/>
          </a:xfrm>
          <a:custGeom>
            <a:avLst/>
            <a:gdLst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1657350 h 1657350"/>
              <a:gd name="connsiteX4" fmla="*/ 0 w 1371600"/>
              <a:gd name="connsiteY4" fmla="*/ 0 h 1657350"/>
              <a:gd name="connsiteX0" fmla="*/ 0 w 1371600"/>
              <a:gd name="connsiteY0" fmla="*/ 0 h 1657350"/>
              <a:gd name="connsiteX1" fmla="*/ 1371600 w 1371600"/>
              <a:gd name="connsiteY1" fmla="*/ 0 h 1657350"/>
              <a:gd name="connsiteX2" fmla="*/ 1371600 w 1371600"/>
              <a:gd name="connsiteY2" fmla="*/ 1657350 h 1657350"/>
              <a:gd name="connsiteX3" fmla="*/ 0 w 1371600"/>
              <a:gd name="connsiteY3" fmla="*/ 0 h 1657350"/>
              <a:gd name="connsiteX0" fmla="*/ 279828 w 1651428"/>
              <a:gd name="connsiteY0" fmla="*/ 0 h 616017"/>
              <a:gd name="connsiteX1" fmla="*/ 1651428 w 1651428"/>
              <a:gd name="connsiteY1" fmla="*/ 0 h 616017"/>
              <a:gd name="connsiteX2" fmla="*/ 0 w 1651428"/>
              <a:gd name="connsiteY2" fmla="*/ 616017 h 616017"/>
              <a:gd name="connsiteX3" fmla="*/ 279828 w 1651428"/>
              <a:gd name="connsiteY3" fmla="*/ 0 h 616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1428" h="616017">
                <a:moveTo>
                  <a:pt x="279828" y="0"/>
                </a:moveTo>
                <a:lnTo>
                  <a:pt x="1651428" y="0"/>
                </a:lnTo>
                <a:lnTo>
                  <a:pt x="0" y="616017"/>
                </a:lnTo>
                <a:lnTo>
                  <a:pt x="279828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B8EBD-EF0C-46E5-8080-D60D056DFB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5044" y="298903"/>
            <a:ext cx="2101729" cy="107421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AE0AF2-3502-4587-A314-FCAF285A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84" y="2767522"/>
            <a:ext cx="10384970" cy="836024"/>
          </a:xfrm>
        </p:spPr>
        <p:txBody>
          <a:bodyPr anchor="b">
            <a:noAutofit/>
          </a:bodyPr>
          <a:lstStyle>
            <a:lvl1pPr algn="l">
              <a:lnSpc>
                <a:spcPts val="5600"/>
              </a:lnSpc>
              <a:defRPr sz="4400" b="1" cap="none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81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9993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3896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1926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0752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16280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6235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66503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1183D-EC97-476E-83B8-3D300CC8CAD8}" type="datetimeFigureOut">
              <a:rPr lang="en-IN" smtClean="0"/>
              <a:t>23-03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2364FB-EAB1-4695-A290-520867D20DD2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12192000" cy="8763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45937" y="34979"/>
            <a:ext cx="1646063" cy="84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11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3/2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8763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45937" y="34979"/>
            <a:ext cx="1646063" cy="84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218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5" name="Picture 4" descr="nitor-logo2.fw.png"/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8660" y="208250"/>
            <a:ext cx="1617749" cy="899333"/>
          </a:xfrm>
          <a:prstGeom prst="rect">
            <a:avLst/>
          </a:prstGeo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/>
          <p:cNvSpPr/>
          <p:nvPr/>
        </p:nvSpPr>
        <p:spPr>
          <a:xfrm>
            <a:off x="-1" y="3799265"/>
            <a:ext cx="12192001" cy="2189409"/>
          </a:xfrm>
          <a:prstGeom prst="rect">
            <a:avLst/>
          </a:prstGeom>
          <a:solidFill>
            <a:srgbClr val="C00000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6600" b="1" dirty="0">
                <a:solidFill>
                  <a:schemeClr val="bg1"/>
                </a:solidFill>
                <a:latin typeface="Agency FB" panose="020B0503020202020204" pitchFamily="34" charset="0"/>
                <a:cs typeface="Aharoni" panose="02010803020104030203" pitchFamily="2" charset="-79"/>
              </a:rPr>
              <a:t>Dot Net Query Builder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99159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AE6A376-0997-4B40-A2F5-137F746B9417}"/>
              </a:ext>
            </a:extLst>
          </p:cNvPr>
          <p:cNvSpPr/>
          <p:nvPr/>
        </p:nvSpPr>
        <p:spPr>
          <a:xfrm>
            <a:off x="499994" y="1638394"/>
            <a:ext cx="10676709" cy="3999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342900">
              <a:spcBef>
                <a:spcPct val="20000"/>
              </a:spcBef>
              <a:buClr>
                <a:srgbClr val="00B0F0"/>
              </a:buClr>
              <a:buFont typeface="Wingdings" pitchFamily="2" charset="2"/>
              <a:buChar char="§"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951202-6CD4-4C8A-BCE8-ACAA4E56B48C}"/>
              </a:ext>
            </a:extLst>
          </p:cNvPr>
          <p:cNvSpPr/>
          <p:nvPr/>
        </p:nvSpPr>
        <p:spPr>
          <a:xfrm>
            <a:off x="0" y="225377"/>
            <a:ext cx="12192000" cy="443198"/>
          </a:xfrm>
          <a:prstGeom prst="rect">
            <a:avLst/>
          </a:prstGeom>
        </p:spPr>
        <p:txBody>
          <a:bodyPr vert="horz" wrap="square" lIns="91440" tIns="0" rIns="9144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tabLst>
                <a:tab pos="5829300" algn="l"/>
              </a:tabLst>
            </a:pPr>
            <a:r>
              <a:rPr lang="en-IN" sz="3200" b="1" dirty="0">
                <a:solidFill>
                  <a:srgbClr val="44546A">
                    <a:lumMod val="75000"/>
                  </a:srgbClr>
                </a:solidFill>
                <a:latin typeface="Agency FB" panose="020B0503020202020204" pitchFamily="34" charset="0"/>
              </a:rPr>
              <a:t>Table of Content</a:t>
            </a:r>
            <a:endParaRPr lang="en-US" sz="3200" b="1" dirty="0">
              <a:solidFill>
                <a:srgbClr val="44546A">
                  <a:lumMod val="75000"/>
                </a:srgbClr>
              </a:solidFill>
              <a:latin typeface="Agency FB" panose="020B0503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AD37D6F-278D-4755-9D42-4BD54436EFA3}"/>
              </a:ext>
            </a:extLst>
          </p:cNvPr>
          <p:cNvSpPr/>
          <p:nvPr/>
        </p:nvSpPr>
        <p:spPr>
          <a:xfrm>
            <a:off x="499994" y="811729"/>
            <a:ext cx="6096000" cy="129586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§"/>
            </a:pPr>
            <a:r>
              <a:rPr lang="en-US" dirty="0">
                <a:solidFill>
                  <a:prstClr val="black"/>
                </a:solidFill>
              </a:rPr>
              <a:t>Introduction</a:t>
            </a:r>
          </a:p>
          <a:p>
            <a:pPr marL="342900" indent="-3429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§"/>
            </a:pPr>
            <a:r>
              <a:rPr lang="en-US" dirty="0" err="1">
                <a:solidFill>
                  <a:prstClr val="black"/>
                </a:solidFill>
              </a:rPr>
              <a:t>Odata</a:t>
            </a:r>
            <a:endParaRPr lang="en-US" dirty="0">
              <a:solidFill>
                <a:prstClr val="black"/>
              </a:solidFill>
            </a:endParaRPr>
          </a:p>
          <a:p>
            <a:pPr marL="342900" indent="-3429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§"/>
            </a:pPr>
            <a:r>
              <a:rPr lang="en-US" dirty="0">
                <a:solidFill>
                  <a:prstClr val="black"/>
                </a:solidFill>
              </a:rPr>
              <a:t>Demo</a:t>
            </a:r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19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sign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787032" y="3251483"/>
            <a:ext cx="1379935" cy="535854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ynamic Query String</a:t>
            </a:r>
            <a:endParaRPr lang="en-IN" sz="1600" b="1" dirty="0"/>
          </a:p>
        </p:txBody>
      </p:sp>
      <p:sp>
        <p:nvSpPr>
          <p:cNvPr id="8" name="Rounded Rectangle 7"/>
          <p:cNvSpPr/>
          <p:nvPr/>
        </p:nvSpPr>
        <p:spPr>
          <a:xfrm>
            <a:off x="4055165" y="3281620"/>
            <a:ext cx="1379935" cy="53585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quest Type</a:t>
            </a:r>
            <a:endParaRPr lang="en-IN" sz="1600" b="1" dirty="0"/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7671045" y="2000530"/>
            <a:ext cx="1" cy="313776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cxnSpLocks/>
          </p:cNvCxnSpPr>
          <p:nvPr/>
        </p:nvCxnSpPr>
        <p:spPr>
          <a:xfrm>
            <a:off x="2189719" y="3549548"/>
            <a:ext cx="1865446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769433" y="3189500"/>
            <a:ext cx="832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OData</a:t>
            </a:r>
            <a:endParaRPr lang="en-IN" sz="1600" b="1" dirty="0"/>
          </a:p>
        </p:txBody>
      </p:sp>
      <p:sp>
        <p:nvSpPr>
          <p:cNvPr id="33" name="Rounded Rectangle 32"/>
          <p:cNvSpPr/>
          <p:nvPr/>
        </p:nvSpPr>
        <p:spPr>
          <a:xfrm>
            <a:off x="8443556" y="1713927"/>
            <a:ext cx="1773851" cy="45942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ongo Query</a:t>
            </a:r>
            <a:endParaRPr lang="en-IN" sz="1600" b="1" dirty="0"/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7671045" y="2001595"/>
            <a:ext cx="772512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BC6953F-B810-4F0D-B555-FBE816B1BEAA}"/>
              </a:ext>
            </a:extLst>
          </p:cNvPr>
          <p:cNvCxnSpPr>
            <a:cxnSpLocks/>
            <a:stCxn id="8" idx="3"/>
          </p:cNvCxnSpPr>
          <p:nvPr/>
        </p:nvCxnSpPr>
        <p:spPr>
          <a:xfrm>
            <a:off x="5435100" y="3549548"/>
            <a:ext cx="2245396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CA97500-6C5F-4C59-A0F1-63119412DF80}"/>
              </a:ext>
            </a:extLst>
          </p:cNvPr>
          <p:cNvSpPr txBox="1"/>
          <p:nvPr/>
        </p:nvSpPr>
        <p:spPr>
          <a:xfrm>
            <a:off x="5822081" y="3178308"/>
            <a:ext cx="1446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Query Builder</a:t>
            </a:r>
            <a:endParaRPr lang="en-IN" sz="1600" b="1" dirty="0"/>
          </a:p>
        </p:txBody>
      </p:sp>
      <p:sp>
        <p:nvSpPr>
          <p:cNvPr id="40" name="Rounded Rectangle 32">
            <a:extLst>
              <a:ext uri="{FF2B5EF4-FFF2-40B4-BE49-F238E27FC236}">
                <a16:creationId xmlns:a16="http://schemas.microsoft.com/office/drawing/2014/main" id="{CD7A2ED7-95BE-4E04-B3FA-99F64BDE9805}"/>
              </a:ext>
            </a:extLst>
          </p:cNvPr>
          <p:cNvSpPr/>
          <p:nvPr/>
        </p:nvSpPr>
        <p:spPr>
          <a:xfrm>
            <a:off x="8443556" y="2749659"/>
            <a:ext cx="1773857" cy="45942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QL Query</a:t>
            </a:r>
            <a:endParaRPr lang="en-IN" sz="1600" b="1" dirty="0"/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1BCEE37-7466-4A50-8E78-0CED0D0B2EA7}"/>
              </a:ext>
            </a:extLst>
          </p:cNvPr>
          <p:cNvCxnSpPr>
            <a:cxnSpLocks/>
          </p:cNvCxnSpPr>
          <p:nvPr/>
        </p:nvCxnSpPr>
        <p:spPr>
          <a:xfrm>
            <a:off x="7671045" y="2979373"/>
            <a:ext cx="772512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32">
            <a:extLst>
              <a:ext uri="{FF2B5EF4-FFF2-40B4-BE49-F238E27FC236}">
                <a16:creationId xmlns:a16="http://schemas.microsoft.com/office/drawing/2014/main" id="{DDCA3F24-166E-47DF-9228-72232690DFBE}"/>
              </a:ext>
            </a:extLst>
          </p:cNvPr>
          <p:cNvSpPr/>
          <p:nvPr/>
        </p:nvSpPr>
        <p:spPr>
          <a:xfrm>
            <a:off x="8453007" y="3868390"/>
            <a:ext cx="1773863" cy="45942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emory List/Db</a:t>
            </a:r>
            <a:endParaRPr lang="en-IN" sz="1600" b="1" dirty="0"/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E70E5209-698A-42E5-8327-D04278C0DC52}"/>
              </a:ext>
            </a:extLst>
          </p:cNvPr>
          <p:cNvCxnSpPr>
            <a:cxnSpLocks/>
          </p:cNvCxnSpPr>
          <p:nvPr/>
        </p:nvCxnSpPr>
        <p:spPr>
          <a:xfrm>
            <a:off x="7680496" y="4098104"/>
            <a:ext cx="772512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32">
            <a:extLst>
              <a:ext uri="{FF2B5EF4-FFF2-40B4-BE49-F238E27FC236}">
                <a16:creationId xmlns:a16="http://schemas.microsoft.com/office/drawing/2014/main" id="{426352D7-DD39-42BD-B024-BF3A6F0A827F}"/>
              </a:ext>
            </a:extLst>
          </p:cNvPr>
          <p:cNvSpPr/>
          <p:nvPr/>
        </p:nvSpPr>
        <p:spPr>
          <a:xfrm>
            <a:off x="8443556" y="4904426"/>
            <a:ext cx="1773867" cy="45942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zure Cosmos DB</a:t>
            </a:r>
            <a:endParaRPr lang="en-IN" sz="1600" b="1" dirty="0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BCF2775-F447-477D-9775-65AF0EB49C49}"/>
              </a:ext>
            </a:extLst>
          </p:cNvPr>
          <p:cNvCxnSpPr>
            <a:cxnSpLocks/>
          </p:cNvCxnSpPr>
          <p:nvPr/>
        </p:nvCxnSpPr>
        <p:spPr>
          <a:xfrm>
            <a:off x="7671045" y="5134140"/>
            <a:ext cx="772512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64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789632" y="2377142"/>
            <a:ext cx="5987183" cy="2082273"/>
          </a:xfrm>
          <a:effectLst>
            <a:softEdge rad="368300"/>
          </a:effectLst>
        </p:spPr>
        <p:txBody>
          <a:bodyPr/>
          <a:lstStyle/>
          <a:p>
            <a:r>
              <a:rPr lang="en-US" sz="8400" dirty="0">
                <a:effectLst>
                  <a:glow>
                    <a:schemeClr val="tx2">
                      <a:lumMod val="20000"/>
                      <a:lumOff val="8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38066" y="1967555"/>
            <a:ext cx="4373731" cy="2497326"/>
            <a:chOff x="338066" y="1962300"/>
            <a:chExt cx="4373731" cy="2497326"/>
          </a:xfrm>
        </p:grpSpPr>
        <p:grpSp>
          <p:nvGrpSpPr>
            <p:cNvPr id="2" name="Group 1"/>
            <p:cNvGrpSpPr/>
            <p:nvPr/>
          </p:nvGrpSpPr>
          <p:grpSpPr>
            <a:xfrm>
              <a:off x="338066" y="1962300"/>
              <a:ext cx="3857043" cy="1553241"/>
              <a:chOff x="433602" y="1061549"/>
              <a:chExt cx="3857043" cy="1553241"/>
            </a:xfrm>
          </p:grpSpPr>
          <p:sp>
            <p:nvSpPr>
              <p:cNvPr id="4" name="TextBox 3"/>
              <p:cNvSpPr txBox="1"/>
              <p:nvPr/>
            </p:nvSpPr>
            <p:spPr>
              <a:xfrm>
                <a:off x="456844" y="1583749"/>
                <a:ext cx="3833801" cy="1031041"/>
              </a:xfrm>
              <a:prstGeom prst="rect">
                <a:avLst/>
              </a:prstGeom>
              <a:noFill/>
            </p:spPr>
            <p:txBody>
              <a:bodyPr wrap="square" lIns="45711" tIns="22855" rIns="45711" bIns="22855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ITOR INFOTECH PVT. LTD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hine, Block 1.5, Embassy Tech Zone, Rajiv Gandhi InfoTech Park, Hinjewadi Phase - II, Pune, Maharashtra 411057</a:t>
                </a: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826904" y="1075530"/>
                <a:ext cx="3150563" cy="384721"/>
              </a:xfrm>
              <a:prstGeom prst="rect">
                <a:avLst/>
              </a:prstGeom>
              <a:noFill/>
            </p:spPr>
            <p:txBody>
              <a:bodyPr wrap="square" lIns="45711" tIns="22855" rIns="45711" bIns="22855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DDRESS</a:t>
                </a: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>
                <a:off x="489498" y="1540207"/>
                <a:ext cx="3559461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4" name="Picture 3" descr="C:\Users\ndoiphode\Desktop\1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3602" y="1061549"/>
                <a:ext cx="422237" cy="4095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4" name="Group 23"/>
            <p:cNvGrpSpPr/>
            <p:nvPr/>
          </p:nvGrpSpPr>
          <p:grpSpPr>
            <a:xfrm>
              <a:off x="338066" y="3756989"/>
              <a:ext cx="4373731" cy="702637"/>
              <a:chOff x="456845" y="4648188"/>
              <a:chExt cx="4373731" cy="702637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456845" y="5058437"/>
                <a:ext cx="4373731" cy="292388"/>
              </a:xfrm>
              <a:prstGeom prst="rect">
                <a:avLst/>
              </a:prstGeom>
              <a:noFill/>
            </p:spPr>
            <p:txBody>
              <a:bodyPr wrap="square" lIns="45711" tIns="22855" rIns="45711" bIns="22855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www.nitorinfotech.com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826904" y="4648188"/>
                <a:ext cx="3150563" cy="384721"/>
              </a:xfrm>
              <a:prstGeom prst="rect">
                <a:avLst/>
              </a:prstGeom>
              <a:noFill/>
            </p:spPr>
            <p:txBody>
              <a:bodyPr wrap="square" lIns="45711" tIns="22855" rIns="45711" bIns="22855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WEBSITE</a:t>
                </a:r>
              </a:p>
            </p:txBody>
          </p:sp>
          <p:cxnSp>
            <p:nvCxnSpPr>
              <p:cNvPr id="19" name="Straight Connector 18"/>
              <p:cNvCxnSpPr/>
              <p:nvPr/>
            </p:nvCxnSpPr>
            <p:spPr>
              <a:xfrm>
                <a:off x="489498" y="5043794"/>
                <a:ext cx="3559461" cy="0"/>
              </a:xfrm>
              <a:prstGeom prst="line">
                <a:avLst/>
              </a:prstGeom>
              <a:ln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0" name="Picture 27" descr="C:\Users\ndoiphode\Desktop\1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2118" y="4688808"/>
                <a:ext cx="265204" cy="2652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21" name="Picture 20" descr="nitor-logo2.fw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676" y="159887"/>
            <a:ext cx="1369516" cy="761336"/>
          </a:xfrm>
          <a:prstGeom prst="rect">
            <a:avLst/>
          </a:prstGeo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7916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</TotalTime>
  <Words>67</Words>
  <Application>Microsoft Office PowerPoint</Application>
  <PresentationFormat>Widescreen</PresentationFormat>
  <Paragraphs>2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gency FB</vt:lpstr>
      <vt:lpstr>Arial</vt:lpstr>
      <vt:lpstr>Calibri</vt:lpstr>
      <vt:lpstr>Calibri Light</vt:lpstr>
      <vt:lpstr>Open Sans Light</vt:lpstr>
      <vt:lpstr>Segoe UI Light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Desig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hil Sarvaiye</dc:creator>
  <cp:lastModifiedBy>Nikhil Sarvaiye</cp:lastModifiedBy>
  <cp:revision>13</cp:revision>
  <dcterms:created xsi:type="dcterms:W3CDTF">2020-08-10T07:56:10Z</dcterms:created>
  <dcterms:modified xsi:type="dcterms:W3CDTF">2021-03-23T08:58:52Z</dcterms:modified>
</cp:coreProperties>
</file>